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B00000"/>
    <a:srgbClr val="FF8989"/>
    <a:srgbClr val="F80000"/>
    <a:srgbClr val="7F0000"/>
    <a:srgbClr val="D1D1D1"/>
    <a:srgbClr val="A7A7A7"/>
    <a:srgbClr val="626262"/>
    <a:srgbClr val="727272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03T15:06:35.416" v="80"/>
      <pc:docMkLst>
        <pc:docMk/>
      </pc:docMkLst>
      <pc:sldChg chg="modSp mod">
        <pc:chgData name="Weigel Stefan (PAR-EPS)" userId="fd3b2067-2981-4ad8-bf3a-d2e1004e4fa8" providerId="ADAL" clId="{A4CFA2F4-FF8D-446B-B271-6DF568DBEADA}" dt="2026-03-03T15:06:35.416" v="80"/>
        <pc:sldMkLst>
          <pc:docMk/>
          <pc:sldMk cId="1183644670" sldId="410"/>
        </pc:sldMkLst>
        <pc:graphicFrameChg chg="mod">
          <ac:chgData name="Weigel Stefan (PAR-EPS)" userId="fd3b2067-2981-4ad8-bf3a-d2e1004e4fa8" providerId="ADAL" clId="{A4CFA2F4-FF8D-446B-B271-6DF568DBEADA}" dt="2026-03-03T15:06:35.416" v="80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Entgleisungen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A58E-4DD0-B8A1-F8926D64248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C$9:$C$13</c:f>
              <c:numCache>
                <c:formatCode>#,##0</c:formatCode>
                <c:ptCount val="5"/>
                <c:pt idx="0">
                  <c:v>4</c:v>
                </c:pt>
                <c:pt idx="1">
                  <c:v>7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Zusammenstösse von Schienenfahrzeugen unter Beteiligung mindestens einer Zugfahrt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2-A58E-4DD0-B8A1-F8926D64248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D$9:$D$13</c:f>
              <c:numCache>
                <c:formatCode>#,##0</c:formatCode>
                <c:ptCount val="5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Unfälle an Bahnübergängen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A58E-4DD0-B8A1-F8926D64248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E$9:$E$13</c:f>
              <c:numCache>
                <c:formatCode>#,##0</c:formatCode>
                <c:ptCount val="5"/>
                <c:pt idx="0">
                  <c:v>14</c:v>
                </c:pt>
                <c:pt idx="1">
                  <c:v>15</c:v>
                </c:pt>
                <c:pt idx="2">
                  <c:v>17</c:v>
                </c:pt>
                <c:pt idx="3">
                  <c:v>23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3.1007297701797693E-2"/>
          <c:y val="0.75340339325138261"/>
          <c:w val="0.61178863277349294"/>
          <c:h val="0.1259558641514831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127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1513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Anzahl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858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046246" y="392032"/>
          <a:ext cx="117076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/>
            <a:t>Anzahl/Mio. </a:t>
          </a:r>
          <a:r>
            <a:rPr lang="de-CH" sz="1100" dirty="0" err="1"/>
            <a:t>Trkm</a:t>
          </a:r>
          <a:r>
            <a:rPr lang="de-CH" sz="1100" dirty="0"/>
            <a:t>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9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senbahnbetriebsunfäll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26306199"/>
              </p:ext>
            </p:extLst>
          </p:nvPr>
        </p:nvGraphicFramePr>
        <p:xfrm>
          <a:off x="1487488" y="1489167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2ED61E9-FF6B-5F27-7993-87873A72C27F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Unfälle auf dem Streckennetz der Infrastruktur SBB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2805149-23C5-485B-AD5E-125497D4EF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senbahnbetriebsun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senbahnbetriebsunfälle.</dc:title>
  <dc:creator>Meyer Raphael (KOM-PGA-VSF)</dc:creator>
  <cp:lastModifiedBy>Weigel Stefan (PAR-EPS)</cp:lastModifiedBy>
  <cp:revision>56</cp:revision>
  <dcterms:created xsi:type="dcterms:W3CDTF">2020-09-30T11:00:09Z</dcterms:created>
  <dcterms:modified xsi:type="dcterms:W3CDTF">2026-03-09T09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